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790" r:id="rId8"/>
  </p:sldMasterIdLst>
  <p:notesMasterIdLst>
    <p:notesMasterId r:id="rId27"/>
  </p:notesMasterIdLst>
  <p:sldIdLst>
    <p:sldId id="289" r:id="rId9"/>
    <p:sldId id="257" r:id="rId10"/>
    <p:sldId id="281" r:id="rId11"/>
    <p:sldId id="259" r:id="rId12"/>
    <p:sldId id="256" r:id="rId13"/>
    <p:sldId id="290" r:id="rId14"/>
    <p:sldId id="291" r:id="rId15"/>
    <p:sldId id="278" r:id="rId16"/>
    <p:sldId id="269" r:id="rId17"/>
    <p:sldId id="271" r:id="rId18"/>
    <p:sldId id="272" r:id="rId19"/>
    <p:sldId id="273" r:id="rId20"/>
    <p:sldId id="274" r:id="rId21"/>
    <p:sldId id="284" r:id="rId22"/>
    <p:sldId id="285" r:id="rId23"/>
    <p:sldId id="286" r:id="rId24"/>
    <p:sldId id="287" r:id="rId25"/>
    <p:sldId id="28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F2FC"/>
    <a:srgbClr val="3C454F"/>
    <a:srgbClr val="FFC000"/>
    <a:srgbClr val="289FD7"/>
    <a:srgbClr val="E34F24"/>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82" autoAdjust="0"/>
    <p:restoredTop sz="94660"/>
  </p:normalViewPr>
  <p:slideViewPr>
    <p:cSldViewPr snapToGrid="0">
      <p:cViewPr varScale="1">
        <p:scale>
          <a:sx n="113" d="100"/>
          <a:sy n="113" d="100"/>
        </p:scale>
        <p:origin x="126"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AD48B6-5F75-475E-AB2B-00F3858146C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81F894A-F3D4-4A1C-9F9C-E76570EC5D8C}">
      <dgm:prSet phldrT="[Text]"/>
      <dgm:spPr/>
      <dgm:t>
        <a:bodyPr/>
        <a:lstStyle/>
        <a:p>
          <a:r>
            <a:rPr lang="en-US" dirty="0" smtClean="0"/>
            <a:t>Visual Studio 2015</a:t>
          </a:r>
          <a:endParaRPr lang="en-US" dirty="0"/>
        </a:p>
      </dgm:t>
    </dgm:pt>
    <dgm:pt modelId="{BCC21E21-7293-45E8-8D9E-A8335246538F}" type="parTrans" cxnId="{E1208DA3-C6E0-4876-81EF-2F31F53FA238}">
      <dgm:prSet/>
      <dgm:spPr/>
      <dgm:t>
        <a:bodyPr/>
        <a:lstStyle/>
        <a:p>
          <a:endParaRPr lang="en-US"/>
        </a:p>
      </dgm:t>
    </dgm:pt>
    <dgm:pt modelId="{06B84A86-DB6E-4423-AF94-9037823BA344}" type="sibTrans" cxnId="{E1208DA3-C6E0-4876-81EF-2F31F53FA238}">
      <dgm:prSet/>
      <dgm:spPr/>
      <dgm:t>
        <a:bodyPr/>
        <a:lstStyle/>
        <a:p>
          <a:endParaRPr lang="en-US"/>
        </a:p>
      </dgm:t>
    </dgm:pt>
    <dgm:pt modelId="{898F3A09-7D98-4ED3-B4F5-57127C13FA51}">
      <dgm:prSet phldrT="[Text]"/>
      <dgm:spPr/>
      <dgm:t>
        <a:bodyPr/>
        <a:lstStyle/>
        <a:p>
          <a:r>
            <a:rPr lang="en-US" dirty="0" smtClean="0"/>
            <a:t>ASP.NET Core</a:t>
          </a:r>
          <a:endParaRPr lang="en-US" dirty="0"/>
        </a:p>
      </dgm:t>
    </dgm:pt>
    <dgm:pt modelId="{FCA38C4F-2FBA-4EDA-A9E1-F090A654AE63}" type="parTrans" cxnId="{D545DFA0-7212-4A65-B83C-1B6390B8B114}">
      <dgm:prSet/>
      <dgm:spPr/>
      <dgm:t>
        <a:bodyPr/>
        <a:lstStyle/>
        <a:p>
          <a:endParaRPr lang="en-US"/>
        </a:p>
      </dgm:t>
    </dgm:pt>
    <dgm:pt modelId="{BF04F146-39C3-45CD-823E-31017E30896A}" type="sibTrans" cxnId="{D545DFA0-7212-4A65-B83C-1B6390B8B114}">
      <dgm:prSet/>
      <dgm:spPr/>
      <dgm:t>
        <a:bodyPr/>
        <a:lstStyle/>
        <a:p>
          <a:endParaRPr lang="en-US"/>
        </a:p>
      </dgm:t>
    </dgm:pt>
    <dgm:pt modelId="{CD23DE58-F09E-4556-AF0D-E63314D887ED}">
      <dgm:prSet phldrT="[Text]"/>
      <dgm:spPr/>
      <dgm:t>
        <a:bodyPr/>
        <a:lstStyle/>
        <a:p>
          <a:r>
            <a:rPr lang="en-US" dirty="0" smtClean="0"/>
            <a:t>Azure</a:t>
          </a:r>
          <a:endParaRPr lang="en-US" dirty="0"/>
        </a:p>
      </dgm:t>
    </dgm:pt>
    <dgm:pt modelId="{AA4C61A9-A27D-4099-8856-97882E903068}" type="parTrans" cxnId="{0043E5C4-AD02-4EF2-9728-5E1AB2349A2C}">
      <dgm:prSet/>
      <dgm:spPr/>
      <dgm:t>
        <a:bodyPr/>
        <a:lstStyle/>
        <a:p>
          <a:endParaRPr lang="en-US"/>
        </a:p>
      </dgm:t>
    </dgm:pt>
    <dgm:pt modelId="{C2D5944F-2888-4197-8955-77B638754B93}" type="sibTrans" cxnId="{0043E5C4-AD02-4EF2-9728-5E1AB2349A2C}">
      <dgm:prSet/>
      <dgm:spPr/>
      <dgm:t>
        <a:bodyPr/>
        <a:lstStyle/>
        <a:p>
          <a:endParaRPr lang="en-US"/>
        </a:p>
      </dgm:t>
    </dgm:pt>
    <dgm:pt modelId="{7072963B-D226-4558-9A4B-5A67D96962F1}">
      <dgm:prSet phldrT="[Text]"/>
      <dgm:spPr/>
      <dgm:t>
        <a:bodyPr/>
        <a:lstStyle/>
        <a:p>
          <a:r>
            <a:rPr lang="en-US" dirty="0" smtClean="0"/>
            <a:t>Package Managers</a:t>
          </a:r>
          <a:endParaRPr lang="en-US" dirty="0"/>
        </a:p>
      </dgm:t>
    </dgm:pt>
    <dgm:pt modelId="{C554C7C3-F36A-49B4-9834-3FE579870A4C}" type="parTrans" cxnId="{B4467FDB-1788-451F-8570-EFC4969BB27A}">
      <dgm:prSet/>
      <dgm:spPr/>
      <dgm:t>
        <a:bodyPr/>
        <a:lstStyle/>
        <a:p>
          <a:endParaRPr lang="en-US"/>
        </a:p>
      </dgm:t>
    </dgm:pt>
    <dgm:pt modelId="{4D76FA6C-980D-40CB-8C56-4C2474A754B9}" type="sibTrans" cxnId="{B4467FDB-1788-451F-8570-EFC4969BB27A}">
      <dgm:prSet/>
      <dgm:spPr/>
      <dgm:t>
        <a:bodyPr/>
        <a:lstStyle/>
        <a:p>
          <a:endParaRPr lang="en-US"/>
        </a:p>
      </dgm:t>
    </dgm:pt>
    <dgm:pt modelId="{F9C973EF-7EF6-4E30-B697-1A027C6E063F}" type="pres">
      <dgm:prSet presAssocID="{E1AD48B6-5F75-475E-AB2B-00F3858146C5}" presName="diagram" presStyleCnt="0">
        <dgm:presLayoutVars>
          <dgm:dir/>
          <dgm:resizeHandles val="exact"/>
        </dgm:presLayoutVars>
      </dgm:prSet>
      <dgm:spPr/>
      <dgm:t>
        <a:bodyPr/>
        <a:lstStyle/>
        <a:p>
          <a:endParaRPr lang="en-US"/>
        </a:p>
      </dgm:t>
    </dgm:pt>
    <dgm:pt modelId="{79396110-1981-49E8-B93F-F38EB93831DA}" type="pres">
      <dgm:prSet presAssocID="{A81F894A-F3D4-4A1C-9F9C-E76570EC5D8C}" presName="node" presStyleLbl="node1" presStyleIdx="0" presStyleCnt="4">
        <dgm:presLayoutVars>
          <dgm:bulletEnabled val="1"/>
        </dgm:presLayoutVars>
      </dgm:prSet>
      <dgm:spPr/>
      <dgm:t>
        <a:bodyPr/>
        <a:lstStyle/>
        <a:p>
          <a:endParaRPr lang="en-US"/>
        </a:p>
      </dgm:t>
    </dgm:pt>
    <dgm:pt modelId="{FAEEABCF-25A1-42B9-B3BE-6D9E40932452}" type="pres">
      <dgm:prSet presAssocID="{06B84A86-DB6E-4423-AF94-9037823BA344}" presName="sibTrans" presStyleCnt="0"/>
      <dgm:spPr/>
    </dgm:pt>
    <dgm:pt modelId="{35B66752-556E-493D-A1BC-04909857FB36}" type="pres">
      <dgm:prSet presAssocID="{898F3A09-7D98-4ED3-B4F5-57127C13FA51}" presName="node" presStyleLbl="node1" presStyleIdx="1" presStyleCnt="4">
        <dgm:presLayoutVars>
          <dgm:bulletEnabled val="1"/>
        </dgm:presLayoutVars>
      </dgm:prSet>
      <dgm:spPr/>
      <dgm:t>
        <a:bodyPr/>
        <a:lstStyle/>
        <a:p>
          <a:endParaRPr lang="en-US"/>
        </a:p>
      </dgm:t>
    </dgm:pt>
    <dgm:pt modelId="{A0EC40E6-1BFF-49D9-9D58-A9AF9F6C6D0D}" type="pres">
      <dgm:prSet presAssocID="{BF04F146-39C3-45CD-823E-31017E30896A}" presName="sibTrans" presStyleCnt="0"/>
      <dgm:spPr/>
    </dgm:pt>
    <dgm:pt modelId="{EEF0ECC6-1927-41F8-B869-545F9CAF1702}" type="pres">
      <dgm:prSet presAssocID="{7072963B-D226-4558-9A4B-5A67D96962F1}" presName="node" presStyleLbl="node1" presStyleIdx="2" presStyleCnt="4">
        <dgm:presLayoutVars>
          <dgm:bulletEnabled val="1"/>
        </dgm:presLayoutVars>
      </dgm:prSet>
      <dgm:spPr/>
      <dgm:t>
        <a:bodyPr/>
        <a:lstStyle/>
        <a:p>
          <a:endParaRPr lang="en-US"/>
        </a:p>
      </dgm:t>
    </dgm:pt>
    <dgm:pt modelId="{0D4BBB71-9DFF-4B8B-B8BD-2799B9DBFF3A}" type="pres">
      <dgm:prSet presAssocID="{4D76FA6C-980D-40CB-8C56-4C2474A754B9}" presName="sibTrans" presStyleCnt="0"/>
      <dgm:spPr/>
    </dgm:pt>
    <dgm:pt modelId="{02A8829A-C1F1-4E41-918D-7B734A47EE90}" type="pres">
      <dgm:prSet presAssocID="{CD23DE58-F09E-4556-AF0D-E63314D887ED}" presName="node" presStyleLbl="node1" presStyleIdx="3" presStyleCnt="4">
        <dgm:presLayoutVars>
          <dgm:bulletEnabled val="1"/>
        </dgm:presLayoutVars>
      </dgm:prSet>
      <dgm:spPr/>
      <dgm:t>
        <a:bodyPr/>
        <a:lstStyle/>
        <a:p>
          <a:endParaRPr lang="en-US"/>
        </a:p>
      </dgm:t>
    </dgm:pt>
  </dgm:ptLst>
  <dgm:cxnLst>
    <dgm:cxn modelId="{0043E5C4-AD02-4EF2-9728-5E1AB2349A2C}" srcId="{E1AD48B6-5F75-475E-AB2B-00F3858146C5}" destId="{CD23DE58-F09E-4556-AF0D-E63314D887ED}" srcOrd="3" destOrd="0" parTransId="{AA4C61A9-A27D-4099-8856-97882E903068}" sibTransId="{C2D5944F-2888-4197-8955-77B638754B93}"/>
    <dgm:cxn modelId="{E1208DA3-C6E0-4876-81EF-2F31F53FA238}" srcId="{E1AD48B6-5F75-475E-AB2B-00F3858146C5}" destId="{A81F894A-F3D4-4A1C-9F9C-E76570EC5D8C}" srcOrd="0" destOrd="0" parTransId="{BCC21E21-7293-45E8-8D9E-A8335246538F}" sibTransId="{06B84A86-DB6E-4423-AF94-9037823BA344}"/>
    <dgm:cxn modelId="{CA8CC84A-52F5-4A05-A754-0C7B825D9827}" type="presOf" srcId="{898F3A09-7D98-4ED3-B4F5-57127C13FA51}" destId="{35B66752-556E-493D-A1BC-04909857FB36}" srcOrd="0" destOrd="0" presId="urn:microsoft.com/office/officeart/2005/8/layout/default"/>
    <dgm:cxn modelId="{F464A6F0-78CD-45FC-916E-C0F9F6B44A1E}" type="presOf" srcId="{CD23DE58-F09E-4556-AF0D-E63314D887ED}" destId="{02A8829A-C1F1-4E41-918D-7B734A47EE90}" srcOrd="0" destOrd="0" presId="urn:microsoft.com/office/officeart/2005/8/layout/default"/>
    <dgm:cxn modelId="{B4467FDB-1788-451F-8570-EFC4969BB27A}" srcId="{E1AD48B6-5F75-475E-AB2B-00F3858146C5}" destId="{7072963B-D226-4558-9A4B-5A67D96962F1}" srcOrd="2" destOrd="0" parTransId="{C554C7C3-F36A-49B4-9834-3FE579870A4C}" sibTransId="{4D76FA6C-980D-40CB-8C56-4C2474A754B9}"/>
    <dgm:cxn modelId="{D545DFA0-7212-4A65-B83C-1B6390B8B114}" srcId="{E1AD48B6-5F75-475E-AB2B-00F3858146C5}" destId="{898F3A09-7D98-4ED3-B4F5-57127C13FA51}" srcOrd="1" destOrd="0" parTransId="{FCA38C4F-2FBA-4EDA-A9E1-F090A654AE63}" sibTransId="{BF04F146-39C3-45CD-823E-31017E30896A}"/>
    <dgm:cxn modelId="{40990F41-602F-439A-B597-491AD9220CC3}" type="presOf" srcId="{7072963B-D226-4558-9A4B-5A67D96962F1}" destId="{EEF0ECC6-1927-41F8-B869-545F9CAF1702}" srcOrd="0" destOrd="0" presId="urn:microsoft.com/office/officeart/2005/8/layout/default"/>
    <dgm:cxn modelId="{09BA4CF2-10AC-4C87-B8F4-2D771BDF0015}" type="presOf" srcId="{E1AD48B6-5F75-475E-AB2B-00F3858146C5}" destId="{F9C973EF-7EF6-4E30-B697-1A027C6E063F}" srcOrd="0" destOrd="0" presId="urn:microsoft.com/office/officeart/2005/8/layout/default"/>
    <dgm:cxn modelId="{4A640DAA-A0F8-4612-9F3F-8FCB41987BCE}" type="presOf" srcId="{A81F894A-F3D4-4A1C-9F9C-E76570EC5D8C}" destId="{79396110-1981-49E8-B93F-F38EB93831DA}" srcOrd="0" destOrd="0" presId="urn:microsoft.com/office/officeart/2005/8/layout/default"/>
    <dgm:cxn modelId="{486BFB28-A030-4F03-A618-3C41A18C3E4F}" type="presParOf" srcId="{F9C973EF-7EF6-4E30-B697-1A027C6E063F}" destId="{79396110-1981-49E8-B93F-F38EB93831DA}" srcOrd="0" destOrd="0" presId="urn:microsoft.com/office/officeart/2005/8/layout/default"/>
    <dgm:cxn modelId="{CAAA02C8-DB16-4C5B-BDE7-73253D57B396}" type="presParOf" srcId="{F9C973EF-7EF6-4E30-B697-1A027C6E063F}" destId="{FAEEABCF-25A1-42B9-B3BE-6D9E40932452}" srcOrd="1" destOrd="0" presId="urn:microsoft.com/office/officeart/2005/8/layout/default"/>
    <dgm:cxn modelId="{8542047D-6914-411E-9B64-B863AEECB6BD}" type="presParOf" srcId="{F9C973EF-7EF6-4E30-B697-1A027C6E063F}" destId="{35B66752-556E-493D-A1BC-04909857FB36}" srcOrd="2" destOrd="0" presId="urn:microsoft.com/office/officeart/2005/8/layout/default"/>
    <dgm:cxn modelId="{305BED0D-89DC-4685-AEEA-C5C704510238}" type="presParOf" srcId="{F9C973EF-7EF6-4E30-B697-1A027C6E063F}" destId="{A0EC40E6-1BFF-49D9-9D58-A9AF9F6C6D0D}" srcOrd="3" destOrd="0" presId="urn:microsoft.com/office/officeart/2005/8/layout/default"/>
    <dgm:cxn modelId="{82DFA51F-91B6-4896-9404-83241F30E5FC}" type="presParOf" srcId="{F9C973EF-7EF6-4E30-B697-1A027C6E063F}" destId="{EEF0ECC6-1927-41F8-B869-545F9CAF1702}" srcOrd="4" destOrd="0" presId="urn:microsoft.com/office/officeart/2005/8/layout/default"/>
    <dgm:cxn modelId="{91934E13-46EA-43E8-B84E-EA0BED83CD68}" type="presParOf" srcId="{F9C973EF-7EF6-4E30-B697-1A027C6E063F}" destId="{0D4BBB71-9DFF-4B8B-B8BD-2799B9DBFF3A}" srcOrd="5" destOrd="0" presId="urn:microsoft.com/office/officeart/2005/8/layout/default"/>
    <dgm:cxn modelId="{07D0FAEA-8C9B-4E14-9126-A08E8660CDA2}" type="presParOf" srcId="{F9C973EF-7EF6-4E30-B697-1A027C6E063F}" destId="{02A8829A-C1F1-4E41-918D-7B734A47EE90}"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Core and Visual Studio Web Tools</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a:t>
          </a:r>
          <a:r>
            <a:rPr lang="en-US" sz="1800" dirty="0" smtClean="0"/>
            <a:t>ASP.NET Core</a:t>
          </a:r>
          <a:endParaRPr lang="en-US" sz="1800" dirty="0" smtClean="0"/>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5"/>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5"/>
      <dgm:spPr/>
      <dgm:t>
        <a:bodyPr/>
        <a:lstStyle/>
        <a:p>
          <a:endParaRPr lang="en-US"/>
        </a:p>
      </dgm:t>
    </dgm:pt>
    <dgm:pt modelId="{A169A3DF-3482-4DB4-A369-65C9EACA0A7B}" type="pres">
      <dgm:prSet presAssocID="{48914873-C460-43A6-8A7F-9F5DC4D43744}" presName="dstNode" presStyleLbl="node1" presStyleIdx="0" presStyleCnt="5"/>
      <dgm:spPr/>
      <dgm:t>
        <a:bodyPr/>
        <a:lstStyle/>
        <a:p>
          <a:endParaRPr lang="en-US"/>
        </a:p>
      </dgm:t>
    </dgm:pt>
    <dgm:pt modelId="{458817C7-6BEC-45B3-895F-78F93D5B61B1}" type="pres">
      <dgm:prSet presAssocID="{2A698087-0C77-46BC-BEE3-9DD62B31079B}" presName="text_1" presStyleLbl="node1" presStyleIdx="0" presStyleCnt="5">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5"/>
      <dgm:spPr/>
      <dgm:t>
        <a:bodyPr/>
        <a:lstStyle/>
        <a:p>
          <a:endParaRPr lang="en-US"/>
        </a:p>
      </dgm:t>
    </dgm:pt>
    <dgm:pt modelId="{B710CF74-13DC-491D-8AA7-EE713AB0A121}" type="pres">
      <dgm:prSet presAssocID="{78E86AF5-BDE7-40A2-BB48-3781EBA8B21E}" presName="text_2" presStyleLbl="node1" presStyleIdx="1" presStyleCnt="5">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5"/>
      <dgm:spPr/>
      <dgm:t>
        <a:bodyPr/>
        <a:lstStyle/>
        <a:p>
          <a:endParaRPr lang="en-US"/>
        </a:p>
      </dgm:t>
    </dgm:pt>
    <dgm:pt modelId="{F4DCD2E3-C30A-4106-8870-66D02E4ED2D8}" type="pres">
      <dgm:prSet presAssocID="{C21281DC-F931-4E9C-942D-AD3EB61A6EA2}" presName="text_3" presStyleLbl="node1" presStyleIdx="2" presStyleCnt="5">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5"/>
      <dgm:spPr/>
      <dgm:t>
        <a:bodyPr/>
        <a:lstStyle/>
        <a:p>
          <a:endParaRPr lang="en-US"/>
        </a:p>
      </dgm:t>
    </dgm:pt>
    <dgm:pt modelId="{C6D19E84-6DD9-43A3-921E-AC3C76D4EF46}" type="pres">
      <dgm:prSet presAssocID="{68987326-02A7-40EE-8530-CA56E5E2ED4A}" presName="text_4" presStyleLbl="node1" presStyleIdx="3" presStyleCnt="5">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5"/>
      <dgm:spPr/>
      <dgm:t>
        <a:bodyPr/>
        <a:lstStyle/>
        <a:p>
          <a:endParaRPr lang="en-US"/>
        </a:p>
      </dgm:t>
    </dgm:pt>
    <dgm:pt modelId="{537CCD8C-EC29-4A94-81A7-0B4E010ADBB1}" type="pres">
      <dgm:prSet presAssocID="{312DE6B4-F0D4-4BC3-A484-5E27BC83857C}" presName="text_5" presStyleLbl="node1" presStyleIdx="4" presStyleCnt="5">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5"/>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84F558AD-3CEE-4264-99AA-B0ACD9FAF4AC}" type="presOf" srcId="{78E86AF5-BDE7-40A2-BB48-3781EBA8B21E}" destId="{B710CF74-13DC-491D-8AA7-EE713AB0A121}"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9C5CE53D-DA31-4BC6-9391-BA308C57CAEE}" type="presOf" srcId="{48914873-C460-43A6-8A7F-9F5DC4D43744}" destId="{3B73ACC1-496C-40F5-B241-D7E8E221BFF7}" srcOrd="0" destOrd="0" presId="urn:microsoft.com/office/officeart/2008/layout/VerticalCurvedList"/>
    <dgm:cxn modelId="{EA1D3AFC-1C1E-429B-AE2D-B05F3F7F59CF}" type="presOf" srcId="{DF51E2A6-ABF0-49DE-8ADB-388659769540}" destId="{C88AC33A-9E7B-48FE-AA69-CF0915BA28B4}"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23417440-9C51-49DE-BA19-47C841CCB655}" type="presOf" srcId="{68987326-02A7-40EE-8530-CA56E5E2ED4A}" destId="{C6D19E84-6DD9-43A3-921E-AC3C76D4EF46}" srcOrd="0" destOrd="0" presId="urn:microsoft.com/office/officeart/2008/layout/VerticalCurvedList"/>
    <dgm:cxn modelId="{440B84C4-E5E7-4AB1-84EB-F3703F958FD3}" type="presOf" srcId="{2A698087-0C77-46BC-BEE3-9DD62B31079B}" destId="{458817C7-6BEC-45B3-895F-78F93D5B61B1}"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340C1A1B-EEC7-4E14-9B62-791D4166C8ED}" type="presOf" srcId="{312DE6B4-F0D4-4BC3-A484-5E27BC83857C}" destId="{537CCD8C-EC29-4A94-81A7-0B4E010ADBB1}"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396110-1981-49E8-B93F-F38EB93831DA}">
      <dsp:nvSpPr>
        <dsp:cNvPr id="0" name=""/>
        <dsp:cNvSpPr/>
      </dsp:nvSpPr>
      <dsp:spPr>
        <a:xfrm>
          <a:off x="1373953" y="437"/>
          <a:ext cx="2899800" cy="1739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a:lnSpc>
              <a:spcPct val="90000"/>
            </a:lnSpc>
            <a:spcBef>
              <a:spcPct val="0"/>
            </a:spcBef>
            <a:spcAft>
              <a:spcPct val="35000"/>
            </a:spcAft>
          </a:pPr>
          <a:r>
            <a:rPr lang="en-US" sz="3900" kern="1200" dirty="0" smtClean="0"/>
            <a:t>Visual Studio 2015</a:t>
          </a:r>
          <a:endParaRPr lang="en-US" sz="3900" kern="1200" dirty="0"/>
        </a:p>
      </dsp:txBody>
      <dsp:txXfrm>
        <a:off x="1373953" y="437"/>
        <a:ext cx="2899800" cy="1739880"/>
      </dsp:txXfrm>
    </dsp:sp>
    <dsp:sp modelId="{35B66752-556E-493D-A1BC-04909857FB36}">
      <dsp:nvSpPr>
        <dsp:cNvPr id="0" name=""/>
        <dsp:cNvSpPr/>
      </dsp:nvSpPr>
      <dsp:spPr>
        <a:xfrm>
          <a:off x="4563733" y="437"/>
          <a:ext cx="2899800" cy="1739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a:lnSpc>
              <a:spcPct val="90000"/>
            </a:lnSpc>
            <a:spcBef>
              <a:spcPct val="0"/>
            </a:spcBef>
            <a:spcAft>
              <a:spcPct val="35000"/>
            </a:spcAft>
          </a:pPr>
          <a:r>
            <a:rPr lang="en-US" sz="3900" kern="1200" dirty="0" smtClean="0"/>
            <a:t>ASP.NET Core</a:t>
          </a:r>
          <a:endParaRPr lang="en-US" sz="3900" kern="1200" dirty="0"/>
        </a:p>
      </dsp:txBody>
      <dsp:txXfrm>
        <a:off x="4563733" y="437"/>
        <a:ext cx="2899800" cy="1739880"/>
      </dsp:txXfrm>
    </dsp:sp>
    <dsp:sp modelId="{EEF0ECC6-1927-41F8-B869-545F9CAF1702}">
      <dsp:nvSpPr>
        <dsp:cNvPr id="0" name=""/>
        <dsp:cNvSpPr/>
      </dsp:nvSpPr>
      <dsp:spPr>
        <a:xfrm>
          <a:off x="1373953" y="2030298"/>
          <a:ext cx="2899800" cy="1739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a:lnSpc>
              <a:spcPct val="90000"/>
            </a:lnSpc>
            <a:spcBef>
              <a:spcPct val="0"/>
            </a:spcBef>
            <a:spcAft>
              <a:spcPct val="35000"/>
            </a:spcAft>
          </a:pPr>
          <a:r>
            <a:rPr lang="en-US" sz="3900" kern="1200" dirty="0" smtClean="0"/>
            <a:t>Package Managers</a:t>
          </a:r>
          <a:endParaRPr lang="en-US" sz="3900" kern="1200" dirty="0"/>
        </a:p>
      </dsp:txBody>
      <dsp:txXfrm>
        <a:off x="1373953" y="2030298"/>
        <a:ext cx="2899800" cy="1739880"/>
      </dsp:txXfrm>
    </dsp:sp>
    <dsp:sp modelId="{02A8829A-C1F1-4E41-918D-7B734A47EE90}">
      <dsp:nvSpPr>
        <dsp:cNvPr id="0" name=""/>
        <dsp:cNvSpPr/>
      </dsp:nvSpPr>
      <dsp:spPr>
        <a:xfrm>
          <a:off x="4563733" y="2030298"/>
          <a:ext cx="2899800" cy="1739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a:lnSpc>
              <a:spcPct val="90000"/>
            </a:lnSpc>
            <a:spcBef>
              <a:spcPct val="0"/>
            </a:spcBef>
            <a:spcAft>
              <a:spcPct val="35000"/>
            </a:spcAft>
          </a:pPr>
          <a:r>
            <a:rPr lang="en-US" sz="3900" kern="1200" dirty="0" smtClean="0"/>
            <a:t>Azure</a:t>
          </a:r>
          <a:endParaRPr lang="en-US" sz="3900" kern="1200" dirty="0"/>
        </a:p>
      </dsp:txBody>
      <dsp:txXfrm>
        <a:off x="4563733" y="2030298"/>
        <a:ext cx="2899800" cy="17398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69816" y="311579"/>
          <a:ext cx="10609434" cy="62355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94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Core and Visual Studio Web Tools</a:t>
          </a:r>
          <a:endParaRPr lang="en-US" sz="1800" kern="1200" dirty="0"/>
        </a:p>
      </dsp:txBody>
      <dsp:txXfrm>
        <a:off x="469816" y="311579"/>
        <a:ext cx="10609434" cy="623557"/>
      </dsp:txXfrm>
    </dsp:sp>
    <dsp:sp modelId="{C17F0E81-FCDB-4D98-9E05-3DD956F33DB3}">
      <dsp:nvSpPr>
        <dsp:cNvPr id="0" name=""/>
        <dsp:cNvSpPr/>
      </dsp:nvSpPr>
      <dsp:spPr>
        <a:xfrm>
          <a:off x="80093" y="233634"/>
          <a:ext cx="779447" cy="779447"/>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916639" y="1246616"/>
          <a:ext cx="10162610" cy="623557"/>
        </a:xfrm>
        <a:prstGeom prst="rect">
          <a:avLst/>
        </a:prstGeom>
        <a:solidFill>
          <a:schemeClr val="accent5">
            <a:hueOff val="-1838336"/>
            <a:satOff val="-2557"/>
            <a:lumOff val="-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94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a:t>
          </a:r>
          <a:r>
            <a:rPr lang="en-US" sz="1800" kern="1200" dirty="0" smtClean="0"/>
            <a:t>ASP.NET Core</a:t>
          </a:r>
          <a:endParaRPr lang="en-US" sz="1800" kern="1200" dirty="0" smtClean="0"/>
        </a:p>
      </dsp:txBody>
      <dsp:txXfrm>
        <a:off x="916639" y="1246616"/>
        <a:ext cx="10162610" cy="623557"/>
      </dsp:txXfrm>
    </dsp:sp>
    <dsp:sp modelId="{E359BF74-4EAA-4A84-851E-79427ACA3040}">
      <dsp:nvSpPr>
        <dsp:cNvPr id="0" name=""/>
        <dsp:cNvSpPr/>
      </dsp:nvSpPr>
      <dsp:spPr>
        <a:xfrm>
          <a:off x="526916" y="1168672"/>
          <a:ext cx="779447" cy="779447"/>
        </a:xfrm>
        <a:prstGeom prst="ellipse">
          <a:avLst/>
        </a:prstGeom>
        <a:solidFill>
          <a:schemeClr val="lt1">
            <a:hueOff val="0"/>
            <a:satOff val="0"/>
            <a:lumOff val="0"/>
            <a:alphaOff val="0"/>
          </a:schemeClr>
        </a:solidFill>
        <a:ln w="12700" cap="flat" cmpd="sng" algn="ctr">
          <a:solidFill>
            <a:schemeClr val="accent5">
              <a:hueOff val="-1838336"/>
              <a:satOff val="-2557"/>
              <a:lumOff val="-981"/>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53778" y="2181654"/>
          <a:ext cx="10025472" cy="623557"/>
        </a:xfrm>
        <a:prstGeom prst="rect">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94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53778" y="2181654"/>
        <a:ext cx="10025472" cy="623557"/>
      </dsp:txXfrm>
    </dsp:sp>
    <dsp:sp modelId="{CCABAEA6-84A7-43B2-AE3E-AA77E44737BE}">
      <dsp:nvSpPr>
        <dsp:cNvPr id="0" name=""/>
        <dsp:cNvSpPr/>
      </dsp:nvSpPr>
      <dsp:spPr>
        <a:xfrm>
          <a:off x="664055" y="2103709"/>
          <a:ext cx="779447" cy="779447"/>
        </a:xfrm>
        <a:prstGeom prst="ellipse">
          <a:avLst/>
        </a:prstGeom>
        <a:solidFill>
          <a:schemeClr val="lt1">
            <a:hueOff val="0"/>
            <a:satOff val="0"/>
            <a:lumOff val="0"/>
            <a:alphaOff val="0"/>
          </a:schemeClr>
        </a:solidFill>
        <a:ln w="12700" cap="flat" cmpd="sng" algn="ctr">
          <a:solidFill>
            <a:schemeClr val="accent5">
              <a:hueOff val="-3676672"/>
              <a:satOff val="-5114"/>
              <a:lumOff val="-1961"/>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916639" y="3116691"/>
          <a:ext cx="10162610" cy="623557"/>
        </a:xfrm>
        <a:prstGeom prst="rect">
          <a:avLst/>
        </a:prstGeom>
        <a:solidFill>
          <a:schemeClr val="accent5">
            <a:hueOff val="-5515009"/>
            <a:satOff val="-7671"/>
            <a:lumOff val="-2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94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916639" y="3116691"/>
        <a:ext cx="10162610" cy="623557"/>
      </dsp:txXfrm>
    </dsp:sp>
    <dsp:sp modelId="{D2B54007-1114-44EF-8EEA-3E6760D3169D}">
      <dsp:nvSpPr>
        <dsp:cNvPr id="0" name=""/>
        <dsp:cNvSpPr/>
      </dsp:nvSpPr>
      <dsp:spPr>
        <a:xfrm>
          <a:off x="526916" y="3038746"/>
          <a:ext cx="779447" cy="779447"/>
        </a:xfrm>
        <a:prstGeom prst="ellipse">
          <a:avLst/>
        </a:prstGeom>
        <a:solidFill>
          <a:schemeClr val="lt1">
            <a:hueOff val="0"/>
            <a:satOff val="0"/>
            <a:lumOff val="0"/>
            <a:alphaOff val="0"/>
          </a:schemeClr>
        </a:solidFill>
        <a:ln w="12700" cap="flat" cmpd="sng" algn="ctr">
          <a:solidFill>
            <a:schemeClr val="accent5">
              <a:hueOff val="-5515009"/>
              <a:satOff val="-7671"/>
              <a:lumOff val="-2942"/>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469816" y="4051728"/>
          <a:ext cx="10609434" cy="62355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949"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469816" y="4051728"/>
        <a:ext cx="10609434" cy="623557"/>
      </dsp:txXfrm>
    </dsp:sp>
    <dsp:sp modelId="{9DACB2D5-EADA-42FB-807E-695C820FD52F}">
      <dsp:nvSpPr>
        <dsp:cNvPr id="0" name=""/>
        <dsp:cNvSpPr/>
      </dsp:nvSpPr>
      <dsp:spPr>
        <a:xfrm>
          <a:off x="80093" y="3973784"/>
          <a:ext cx="779447" cy="779447"/>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4/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529307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a:t>
            </a:r>
            <a:r>
              <a:rPr lang="en-US" b="1" baseline="0" dirty="0" smtClean="0"/>
              <a:t> message: </a:t>
            </a:r>
            <a:r>
              <a:rPr lang="en-US" b="0" baseline="0" dirty="0" smtClean="0"/>
              <a:t>Differentiate the purpose and scenarios between .NET Framework and .NET Core. They Key point on .NET Core is that it’s self-contained and specialized on specific workloads. Make sure that we make the point that </a:t>
            </a:r>
            <a:r>
              <a:rPr lang="en-US" b="1" baseline="0" dirty="0" smtClean="0"/>
              <a:t>BOTH are valid</a:t>
            </a:r>
            <a:r>
              <a:rPr lang="en-US" b="0" baseline="0" dirty="0" smtClean="0"/>
              <a:t>. There is no decrease in investment on the .NET Framework side.</a:t>
            </a:r>
            <a:endParaRPr lang="en-US" b="1" baseline="0" dirty="0" smtClean="0"/>
          </a:p>
          <a:p>
            <a:r>
              <a:rPr lang="en-US" b="1" baseline="0" dirty="0" smtClean="0"/>
              <a:t>Transition. </a:t>
            </a:r>
            <a:r>
              <a:rPr lang="en-US" b="0" baseline="0" dirty="0" smtClean="0"/>
              <a:t>There is a common shared layer to these 2 pieces</a:t>
            </a:r>
          </a:p>
          <a:p>
            <a:endParaRPr lang="en-US" dirty="0"/>
          </a:p>
        </p:txBody>
      </p:sp>
      <p:sp>
        <p:nvSpPr>
          <p:cNvPr id="4" name="Slide Number Placeholder 3"/>
          <p:cNvSpPr>
            <a:spLocks noGrp="1"/>
          </p:cNvSpPr>
          <p:nvPr>
            <p:ph type="sldNum" sz="quarter" idx="10"/>
          </p:nvPr>
        </p:nvSpPr>
        <p:spPr/>
        <p:txBody>
          <a:bodyPr/>
          <a:lstStyle/>
          <a:p>
            <a:fld id="{022AA1F8-C6D2-426C-8EA8-1BF39B5677D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006593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4137841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1">
            <a:lumMod val="60000"/>
            <a:lumOff val="4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srcRect l="18401" r="13953" b="6064"/>
          <a:stretch/>
        </p:blipFill>
        <p:spPr>
          <a:xfrm>
            <a:off x="-27709" y="3033966"/>
            <a:ext cx="12219709" cy="3865597"/>
          </a:xfrm>
          <a:prstGeom prst="rect">
            <a:avLst/>
          </a:prstGeom>
        </p:spPr>
      </p:pic>
      <p:pic>
        <p:nvPicPr>
          <p:cNvPr id="7" name="Picture 6"/>
          <p:cNvPicPr>
            <a:picLocks noChangeAspect="1"/>
          </p:cNvPicPr>
          <p:nvPr userDrawn="1"/>
        </p:nvPicPr>
        <p:blipFill rotWithShape="1">
          <a:blip r:embed="rId2"/>
          <a:srcRect l="18401" r="13953" b="6064"/>
          <a:stretch/>
        </p:blipFill>
        <p:spPr>
          <a:xfrm>
            <a:off x="-27709" y="3033966"/>
            <a:ext cx="12219709" cy="3865597"/>
          </a:xfrm>
          <a:prstGeom prst="rect">
            <a:avLst/>
          </a:prstGeom>
        </p:spPr>
      </p:pic>
      <p:pic>
        <p:nvPicPr>
          <p:cNvPr id="8" name="Picture 7"/>
          <p:cNvPicPr>
            <a:picLocks noChangeAspect="1"/>
          </p:cNvPicPr>
          <p:nvPr userDrawn="1"/>
        </p:nvPicPr>
        <p:blipFill>
          <a:blip r:embed="rId3"/>
          <a:stretch>
            <a:fillRect/>
          </a:stretch>
        </p:blipFill>
        <p:spPr>
          <a:xfrm>
            <a:off x="9851688" y="5532552"/>
            <a:ext cx="2470462" cy="1025683"/>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H="1">
            <a:off x="10911839" y="4847629"/>
            <a:ext cx="735979" cy="925314"/>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64033" y="4608576"/>
            <a:ext cx="947270" cy="923976"/>
          </a:xfrm>
          <a:prstGeom prst="rect">
            <a:avLst/>
          </a:prstGeom>
        </p:spPr>
      </p:pic>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11461" y="2311884"/>
            <a:ext cx="3769076" cy="1386430"/>
          </a:xfrm>
          <a:prstGeom prst="rect">
            <a:avLst/>
          </a:prstGeom>
        </p:spPr>
      </p:pic>
    </p:spTree>
    <p:extLst>
      <p:ext uri="{BB962C8B-B14F-4D97-AF65-F5344CB8AC3E}">
        <p14:creationId xmlns:p14="http://schemas.microsoft.com/office/powerpoint/2010/main" val="36837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714999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rotWithShape="1">
          <a:blip r:embed="rId3"/>
          <a:srcRect l="12341" r="14783"/>
          <a:stretch/>
        </p:blipFill>
        <p:spPr>
          <a:xfrm>
            <a:off x="-26126" y="3598819"/>
            <a:ext cx="12226835" cy="3761558"/>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H="1">
            <a:off x="10911839" y="5017448"/>
            <a:ext cx="735979" cy="925314"/>
          </a:xfrm>
          <a:prstGeom prst="rect">
            <a:avLst/>
          </a:prstGeom>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64033" y="4778395"/>
            <a:ext cx="947270" cy="923976"/>
          </a:xfrm>
          <a:prstGeom prst="rect">
            <a:avLst/>
          </a:prstGeom>
        </p:spPr>
      </p:pic>
    </p:spTree>
    <p:extLst>
      <p:ext uri="{BB962C8B-B14F-4D97-AF65-F5344CB8AC3E}">
        <p14:creationId xmlns:p14="http://schemas.microsoft.com/office/powerpoint/2010/main" val="25929085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4079894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0917829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1279167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574010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9104688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473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7131656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Microsoft, Microsoft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177378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55550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1458156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385853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8149679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375498023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99442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microsoft.com/office/2007/relationships/hdphoto" Target="../media/hdphoto1.wdp"/><Relationship Id="rId2" Type="http://schemas.openxmlformats.org/officeDocument/2006/relationships/slideLayout" Target="../slideLayouts/slideLayout8.xml"/><Relationship Id="rId16"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5.emf"/><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image" Target="../media/image5.emf"/><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5.emf"/><Relationship Id="rId4" Type="http://schemas.openxmlformats.org/officeDocument/2006/relationships/slideLayout" Target="../slideLayouts/slideLayout3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5.emf"/><Relationship Id="rId4" Type="http://schemas.openxmlformats.org/officeDocument/2006/relationships/slideLayout" Target="../slideLayouts/slideLayout39.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5.emf"/><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image" Target="../media/image5.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5.emf"/><Relationship Id="rId2" Type="http://schemas.openxmlformats.org/officeDocument/2006/relationships/slideLayout" Target="../slideLayouts/slideLayout60.xml"/><Relationship Id="rId16" Type="http://schemas.openxmlformats.org/officeDocument/2006/relationships/theme" Target="../theme/theme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808" r:id="rId6"/>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5"/>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pic>
        <p:nvPicPr>
          <p:cNvPr id="16" name="Picture 15"/>
          <p:cNvPicPr>
            <a:picLocks noChangeAspect="1"/>
          </p:cNvPicPr>
          <p:nvPr userDrawn="1"/>
        </p:nvPicPr>
        <p:blipFill rotWithShape="1">
          <a:blip r:embed="rId16">
            <a:extLst>
              <a:ext uri="{BEBA8EAE-BF5A-486C-A8C5-ECC9F3942E4B}">
                <a14:imgProps xmlns:a14="http://schemas.microsoft.com/office/drawing/2010/main">
                  <a14:imgLayer r:embed="rId17">
                    <a14:imgEffect>
                      <a14:saturation sat="99000"/>
                    </a14:imgEffect>
                  </a14:imgLayer>
                </a14:imgProps>
              </a:ext>
            </a:extLst>
          </a:blip>
          <a:srcRect l="13121" r="14315"/>
          <a:stretch/>
        </p:blipFill>
        <p:spPr>
          <a:xfrm>
            <a:off x="0" y="4202437"/>
            <a:ext cx="12174584" cy="3578662"/>
          </a:xfrm>
          <a:prstGeom prst="rect">
            <a:avLst/>
          </a:prstGeom>
        </p:spPr>
      </p:pic>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84" r:id="rId9"/>
    <p:sldLayoutId id="2147483785" r:id="rId10"/>
    <p:sldLayoutId id="2147483786" r:id="rId11"/>
    <p:sldLayoutId id="2147483788" r:id="rId12"/>
    <p:sldLayoutId id="2147483807" r:id="rId13"/>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00101703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8.xml"/><Relationship Id="rId7" Type="http://schemas.openxmlformats.org/officeDocument/2006/relationships/diagramData" Target="../diagrams/data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emf"/><Relationship Id="rId11" Type="http://schemas.microsoft.com/office/2007/relationships/diagramDrawing" Target="../diagrams/drawing2.xml"/><Relationship Id="rId5" Type="http://schemas.openxmlformats.org/officeDocument/2006/relationships/oleObject" Target="../embeddings/oleObject1.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21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smtClean="0">
                <a:solidFill>
                  <a:schemeClr val="bg1"/>
                </a:solidFill>
              </a:rPr>
              <a:t>http://azure.microsoft.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1772092" y="1451309"/>
            <a:ext cx="8647816" cy="5163469"/>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www.asp.net/vnex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9764" y="997752"/>
            <a:ext cx="11112473" cy="6857027"/>
          </a:xfrm>
          <a:prstGeom prst="rect">
            <a:avLst/>
          </a:prstGeom>
        </p:spPr>
      </p:pic>
    </p:spTree>
    <p:extLst>
      <p:ext uri="{BB962C8B-B14F-4D97-AF65-F5344CB8AC3E}">
        <p14:creationId xmlns:p14="http://schemas.microsoft.com/office/powerpoint/2010/main" val="2838494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live.asp.net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921" y="997751"/>
            <a:ext cx="11644158" cy="6099966"/>
          </a:xfrm>
          <a:prstGeom prst="rect">
            <a:avLst/>
          </a:prstGeom>
        </p:spPr>
      </p:pic>
    </p:spTree>
    <p:extLst>
      <p:ext uri="{BB962C8B-B14F-4D97-AF65-F5344CB8AC3E}">
        <p14:creationId xmlns:p14="http://schemas.microsoft.com/office/powerpoint/2010/main" val="1004965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a:t>
            </a:r>
            <a:r>
              <a:rPr lang="en-US" sz="3137" dirty="0" smtClean="0">
                <a:solidFill>
                  <a:srgbClr val="E7F2FC"/>
                </a:solidFill>
              </a:rPr>
              <a:t>docs.asp.net </a:t>
            </a:r>
            <a:endParaRPr lang="en-US" sz="3137" dirty="0">
              <a:solidFill>
                <a:srgbClr val="E7F2FC"/>
              </a:solidFill>
            </a:endParaRPr>
          </a:p>
        </p:txBody>
      </p:sp>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8295" y="1193800"/>
            <a:ext cx="7395410" cy="5664199"/>
          </a:xfrm>
          <a:prstGeom prst="rect">
            <a:avLst/>
          </a:prstGeom>
        </p:spPr>
      </p:pic>
    </p:spTree>
    <p:extLst>
      <p:ext uri="{BB962C8B-B14F-4D97-AF65-F5344CB8AC3E}">
        <p14:creationId xmlns:p14="http://schemas.microsoft.com/office/powerpoint/2010/main" val="1716292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8047" y="273608"/>
            <a:ext cx="11055906" cy="724143"/>
          </a:xfrm>
          <a:prstGeom prst="rect">
            <a:avLst/>
          </a:prstGeom>
          <a:noFill/>
        </p:spPr>
        <p:txBody>
          <a:bodyPr wrap="square" lIns="179285" tIns="143428" rIns="179285" bIns="143428" rtlCol="0">
            <a:spAutoFit/>
          </a:bodyPr>
          <a:lstStyle/>
          <a:p>
            <a:pPr algn="ctr">
              <a:lnSpc>
                <a:spcPct val="90000"/>
              </a:lnSpc>
              <a:spcAft>
                <a:spcPts val="588"/>
              </a:spcAft>
            </a:pPr>
            <a:r>
              <a:rPr lang="en-US" sz="3137" dirty="0">
                <a:solidFill>
                  <a:srgbClr val="E7F2FC"/>
                </a:solidFill>
              </a:rPr>
              <a:t>https://</a:t>
            </a:r>
            <a:r>
              <a:rPr lang="en-US" sz="3137" dirty="0" smtClean="0">
                <a:solidFill>
                  <a:srgbClr val="E7F2FC"/>
                </a:solidFill>
              </a:rPr>
              <a:t>github.com/aspnet/announcements/issues </a:t>
            </a:r>
            <a:endParaRPr lang="en-US" sz="3137" dirty="0">
              <a:solidFill>
                <a:srgbClr val="E7F2FC"/>
              </a:solidFill>
            </a:endParaRPr>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5377" y="966080"/>
            <a:ext cx="8061246" cy="5891919"/>
          </a:xfrm>
          <a:prstGeom prst="rect">
            <a:avLst/>
          </a:prstGeom>
        </p:spPr>
      </p:pic>
    </p:spTree>
    <p:extLst>
      <p:ext uri="{BB962C8B-B14F-4D97-AF65-F5344CB8AC3E}">
        <p14:creationId xmlns:p14="http://schemas.microsoft.com/office/powerpoint/2010/main" val="3078783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38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334004672"/>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4:30</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5:00</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202102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aphicFrame>
        <p:nvGraphicFramePr>
          <p:cNvPr id="2" name="Diagram 1"/>
          <p:cNvGraphicFramePr/>
          <p:nvPr>
            <p:extLst/>
          </p:nvPr>
        </p:nvGraphicFramePr>
        <p:xfrm>
          <a:off x="1677257" y="1243173"/>
          <a:ext cx="8837487" cy="3770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7160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448585" y="1867176"/>
            <a:ext cx="3218120" cy="995532"/>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66372">
                      <a:srgbClr val="141414"/>
                    </a:gs>
                    <a:gs pos="90000">
                      <a:srgbClr val="141414"/>
                    </a:gs>
                  </a:gsLst>
                  <a:lin ang="5400000" scaled="0"/>
                </a:gradFill>
                <a:ea typeface="Roboto" panose="02000000000000000000" pitchFamily="2" charset="0"/>
              </a:rPr>
              <a:t>ASP.NET 4.6</a:t>
            </a:r>
          </a:p>
        </p:txBody>
      </p:sp>
      <p:sp>
        <p:nvSpPr>
          <p:cNvPr id="9" name="Title 1"/>
          <p:cNvSpPr>
            <a:spLocks noGrp="1"/>
          </p:cNvSpPr>
          <p:nvPr>
            <p:ph type="title"/>
          </p:nvPr>
        </p:nvSpPr>
        <p:spPr>
          <a:xfrm>
            <a:off x="572280" y="556978"/>
            <a:ext cx="9381017" cy="899537"/>
          </a:xfrm>
        </p:spPr>
        <p:txBody>
          <a:bodyPr>
            <a:normAutofit fontScale="90000"/>
          </a:bodyPr>
          <a:lstStyle/>
          <a:p>
            <a:r>
              <a:rPr lang="en-US" dirty="0" smtClean="0">
                <a:ea typeface="Roboto" panose="02000000000000000000" pitchFamily="2" charset="0"/>
              </a:rPr>
              <a:t>ASP.NET 4.6 and ASP.NET Core 1.0</a:t>
            </a:r>
            <a:endParaRPr lang="en-US" dirty="0">
              <a:ea typeface="Roboto" panose="02000000000000000000" pitchFamily="2" charset="0"/>
            </a:endParaRPr>
          </a:p>
        </p:txBody>
      </p:sp>
      <p:sp>
        <p:nvSpPr>
          <p:cNvPr id="24" name="Rectangle 23"/>
          <p:cNvSpPr/>
          <p:nvPr/>
        </p:nvSpPr>
        <p:spPr bwMode="auto">
          <a:xfrm>
            <a:off x="3717388" y="1872812"/>
            <a:ext cx="8294952" cy="995532"/>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66372">
                      <a:srgbClr val="141414"/>
                    </a:gs>
                    <a:gs pos="90000">
                      <a:srgbClr val="141414"/>
                    </a:gs>
                  </a:gsLst>
                  <a:lin ang="5400000" scaled="0"/>
                </a:gradFill>
                <a:ea typeface="Roboto" panose="02000000000000000000" pitchFamily="2" charset="0"/>
              </a:rPr>
              <a:t>ASP.NET </a:t>
            </a:r>
            <a:r>
              <a:rPr lang="en-US" sz="2800" dirty="0" smtClean="0">
                <a:gradFill>
                  <a:gsLst>
                    <a:gs pos="66372">
                      <a:srgbClr val="141414"/>
                    </a:gs>
                    <a:gs pos="90000">
                      <a:srgbClr val="141414"/>
                    </a:gs>
                  </a:gsLst>
                  <a:lin ang="5400000" scaled="0"/>
                </a:gradFill>
                <a:ea typeface="Roboto" panose="02000000000000000000" pitchFamily="2" charset="0"/>
              </a:rPr>
              <a:t>Core 1.0</a:t>
            </a:r>
            <a:endParaRPr lang="en-US" sz="2800" dirty="0">
              <a:gradFill>
                <a:gsLst>
                  <a:gs pos="66372">
                    <a:srgbClr val="141414"/>
                  </a:gs>
                  <a:gs pos="90000">
                    <a:srgbClr val="141414"/>
                  </a:gs>
                </a:gsLst>
                <a:lin ang="5400000" scaled="0"/>
              </a:gradFill>
              <a:ea typeface="Roboto" panose="02000000000000000000" pitchFamily="2" charset="0"/>
            </a:endParaRPr>
          </a:p>
        </p:txBody>
      </p:sp>
      <p:sp>
        <p:nvSpPr>
          <p:cNvPr id="14" name="Rectangle 13"/>
          <p:cNvSpPr/>
          <p:nvPr/>
        </p:nvSpPr>
        <p:spPr bwMode="auto">
          <a:xfrm>
            <a:off x="448590" y="2923496"/>
            <a:ext cx="5756534" cy="99553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0">
                      <a:srgbClr val="FFFFFF"/>
                    </a:gs>
                    <a:gs pos="100000">
                      <a:srgbClr val="FFFFFF"/>
                    </a:gs>
                  </a:gsLst>
                  <a:lin ang="5400000" scaled="0"/>
                </a:gradFill>
                <a:ea typeface="Roboto" panose="02000000000000000000" pitchFamily="2" charset="0"/>
              </a:rPr>
              <a:t>.NET Framework 4.6</a:t>
            </a:r>
          </a:p>
        </p:txBody>
      </p:sp>
      <p:sp>
        <p:nvSpPr>
          <p:cNvPr id="15" name="Rectangle 14"/>
          <p:cNvSpPr/>
          <p:nvPr/>
        </p:nvSpPr>
        <p:spPr bwMode="auto">
          <a:xfrm>
            <a:off x="448590" y="3979818"/>
            <a:ext cx="5756534" cy="995532"/>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0">
                      <a:srgbClr val="FFFFFF"/>
                    </a:gs>
                    <a:gs pos="100000">
                      <a:srgbClr val="FFFFFF"/>
                    </a:gs>
                  </a:gsLst>
                  <a:lin ang="5400000" scaled="0"/>
                </a:gradFill>
                <a:ea typeface="Roboto" panose="02000000000000000000" pitchFamily="2" charset="0"/>
              </a:rPr>
              <a:t>.NET framework libraries</a:t>
            </a:r>
          </a:p>
        </p:txBody>
      </p:sp>
      <p:sp>
        <p:nvSpPr>
          <p:cNvPr id="16" name="Rectangle 15"/>
          <p:cNvSpPr/>
          <p:nvPr/>
        </p:nvSpPr>
        <p:spPr bwMode="auto">
          <a:xfrm>
            <a:off x="448588" y="5033071"/>
            <a:ext cx="11563113" cy="995532"/>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862"/>
            <a:r>
              <a:rPr lang="en-US" sz="2800" dirty="0">
                <a:gradFill>
                  <a:gsLst>
                    <a:gs pos="0">
                      <a:srgbClr val="FFFFFF"/>
                    </a:gs>
                    <a:gs pos="100000">
                      <a:srgbClr val="FFFFFF"/>
                    </a:gs>
                  </a:gsLst>
                  <a:lin ang="5400000" scaled="0"/>
                </a:gradFill>
                <a:ea typeface="Roboto" panose="02000000000000000000" pitchFamily="2" charset="0"/>
                <a:cs typeface="Segoe UI" pitchFamily="34" charset="0"/>
              </a:rPr>
              <a:t>Compilers and runtime components </a:t>
            </a:r>
            <a:br>
              <a:rPr lang="en-US" sz="2800" dirty="0">
                <a:gradFill>
                  <a:gsLst>
                    <a:gs pos="0">
                      <a:srgbClr val="FFFFFF"/>
                    </a:gs>
                    <a:gs pos="100000">
                      <a:srgbClr val="FFFFFF"/>
                    </a:gs>
                  </a:gsLst>
                  <a:lin ang="5400000" scaled="0"/>
                </a:gradFill>
                <a:ea typeface="Roboto" panose="02000000000000000000" pitchFamily="2" charset="0"/>
                <a:cs typeface="Segoe UI" pitchFamily="34" charset="0"/>
              </a:rPr>
            </a:br>
            <a:r>
              <a:rPr lang="en-US" sz="2000" dirty="0">
                <a:gradFill>
                  <a:gsLst>
                    <a:gs pos="0">
                      <a:srgbClr val="FFFFFF"/>
                    </a:gs>
                    <a:gs pos="100000">
                      <a:srgbClr val="FFFFFF"/>
                    </a:gs>
                  </a:gsLst>
                  <a:lin ang="5400000" scaled="0"/>
                </a:gradFill>
                <a:ea typeface="Roboto" panose="02000000000000000000" pitchFamily="2" charset="0"/>
                <a:cs typeface="Segoe UI" pitchFamily="34" charset="0"/>
              </a:rPr>
              <a:t>(.NET Compiler Platform: Roslyn, C#, VB, F# Languages, </a:t>
            </a:r>
            <a:r>
              <a:rPr lang="en-US" sz="2000" dirty="0" err="1">
                <a:gradFill>
                  <a:gsLst>
                    <a:gs pos="0">
                      <a:srgbClr val="FFFFFF"/>
                    </a:gs>
                    <a:gs pos="100000">
                      <a:srgbClr val="FFFFFF"/>
                    </a:gs>
                  </a:gsLst>
                  <a:lin ang="5400000" scaled="0"/>
                </a:gradFill>
                <a:ea typeface="Roboto" panose="02000000000000000000" pitchFamily="2" charset="0"/>
                <a:cs typeface="Segoe UI" pitchFamily="34" charset="0"/>
              </a:rPr>
              <a:t>RyuJIT</a:t>
            </a:r>
            <a:r>
              <a:rPr lang="en-US" sz="2000" dirty="0">
                <a:gradFill>
                  <a:gsLst>
                    <a:gs pos="0">
                      <a:srgbClr val="FFFFFF"/>
                    </a:gs>
                    <a:gs pos="100000">
                      <a:srgbClr val="FFFFFF"/>
                    </a:gs>
                  </a:gsLst>
                  <a:lin ang="5400000" scaled="0"/>
                </a:gradFill>
                <a:ea typeface="Roboto" panose="02000000000000000000" pitchFamily="2" charset="0"/>
                <a:cs typeface="Segoe UI" pitchFamily="34" charset="0"/>
              </a:rPr>
              <a:t>, SIMD)</a:t>
            </a:r>
          </a:p>
        </p:txBody>
      </p:sp>
      <p:sp>
        <p:nvSpPr>
          <p:cNvPr id="21" name="Rectangle 20"/>
          <p:cNvSpPr/>
          <p:nvPr/>
        </p:nvSpPr>
        <p:spPr bwMode="auto">
          <a:xfrm>
            <a:off x="6255804" y="2926314"/>
            <a:ext cx="5756534" cy="99553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0">
                      <a:srgbClr val="FFFFFF"/>
                    </a:gs>
                    <a:gs pos="100000">
                      <a:srgbClr val="FFFFFF"/>
                    </a:gs>
                  </a:gsLst>
                  <a:lin ang="5400000" scaled="0"/>
                </a:gradFill>
                <a:ea typeface="Roboto" panose="02000000000000000000" pitchFamily="2" charset="0"/>
              </a:rPr>
              <a:t>.NET Core </a:t>
            </a:r>
            <a:r>
              <a:rPr lang="en-US" sz="2800" dirty="0" smtClean="0">
                <a:gradFill>
                  <a:gsLst>
                    <a:gs pos="0">
                      <a:srgbClr val="FFFFFF"/>
                    </a:gs>
                    <a:gs pos="100000">
                      <a:srgbClr val="FFFFFF"/>
                    </a:gs>
                  </a:gsLst>
                  <a:lin ang="5400000" scaled="0"/>
                </a:gradFill>
                <a:ea typeface="Roboto" panose="02000000000000000000" pitchFamily="2" charset="0"/>
              </a:rPr>
              <a:t>1.0</a:t>
            </a:r>
            <a:endParaRPr lang="en-US" sz="2800" dirty="0">
              <a:gradFill>
                <a:gsLst>
                  <a:gs pos="0">
                    <a:srgbClr val="FFFFFF"/>
                  </a:gs>
                  <a:gs pos="100000">
                    <a:srgbClr val="FFFFFF"/>
                  </a:gs>
                </a:gsLst>
                <a:lin ang="5400000" scaled="0"/>
              </a:gradFill>
              <a:ea typeface="Roboto" panose="02000000000000000000" pitchFamily="2" charset="0"/>
            </a:endParaRPr>
          </a:p>
        </p:txBody>
      </p:sp>
      <p:sp>
        <p:nvSpPr>
          <p:cNvPr id="22" name="Rectangle 21"/>
          <p:cNvSpPr/>
          <p:nvPr/>
        </p:nvSpPr>
        <p:spPr bwMode="auto">
          <a:xfrm>
            <a:off x="6255804" y="3979818"/>
            <a:ext cx="5756534" cy="995532"/>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0">
                      <a:srgbClr val="FFFFFF"/>
                    </a:gs>
                    <a:gs pos="100000">
                      <a:srgbClr val="FFFFFF"/>
                    </a:gs>
                  </a:gsLst>
                  <a:lin ang="5400000" scaled="0"/>
                </a:gradFill>
                <a:ea typeface="Roboto" panose="02000000000000000000" pitchFamily="2" charset="0"/>
              </a:rPr>
              <a:t>.NET core libraries</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335" y="3207546"/>
            <a:ext cx="323368" cy="433565"/>
          </a:xfrm>
          <a:prstGeom prst="rect">
            <a:avLst/>
          </a:prstGeom>
        </p:spPr>
      </p:pic>
      <p:pic>
        <p:nvPicPr>
          <p:cNvPr id="35" name="Picture 6" descr="C:\temp\WinAzure_rgb_Wht_S.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371" t="15460" r="80628" b="15496"/>
          <a:stretch/>
        </p:blipFill>
        <p:spPr bwMode="auto">
          <a:xfrm>
            <a:off x="5457660" y="3291197"/>
            <a:ext cx="365579" cy="42397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C:\temp\WinAzure_rgb_Wht_S.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371" t="15460" r="80628" b="15496"/>
          <a:stretch/>
        </p:blipFill>
        <p:spPr bwMode="auto">
          <a:xfrm>
            <a:off x="11374789" y="3217140"/>
            <a:ext cx="365579" cy="42397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10192612" y="3193112"/>
            <a:ext cx="333231" cy="447999"/>
          </a:xfrm>
          <a:prstGeom prst="rect">
            <a:avLst/>
          </a:prstGeom>
        </p:spPr>
      </p:pic>
    </p:spTree>
    <p:extLst>
      <p:ext uri="{BB962C8B-B14F-4D97-AF65-F5344CB8AC3E}">
        <p14:creationId xmlns:p14="http://schemas.microsoft.com/office/powerpoint/2010/main" val="39331008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3248340194"/>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8</TotalTime>
  <Words>346</Words>
  <Application>Microsoft Office PowerPoint</Application>
  <PresentationFormat>Widescreen</PresentationFormat>
  <Paragraphs>92</Paragraphs>
  <Slides>18</Slides>
  <Notes>3</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33" baseType="lpstr">
      <vt:lpstr>Arial</vt:lpstr>
      <vt:lpstr>Calibri</vt:lpstr>
      <vt:lpstr>Roboto</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1_Azure Medium</vt:lpstr>
      <vt:lpstr>think-cell Slide</vt:lpstr>
      <vt:lpstr>PowerPoint Presentation</vt:lpstr>
      <vt:lpstr>What’s next</vt:lpstr>
      <vt:lpstr>Today’s Agenda</vt:lpstr>
      <vt:lpstr>Agenda</vt:lpstr>
      <vt:lpstr>What we covered</vt:lpstr>
      <vt:lpstr>The foundation: tools &amp; frameworks</vt:lpstr>
      <vt:lpstr>ASP.NET 4.6 and ASP.NET Core 1.0</vt:lpstr>
      <vt:lpstr>What we learned today</vt:lpstr>
      <vt:lpstr>Top resources for more info</vt:lpstr>
      <vt:lpstr>ASP.NET Questions</vt:lpstr>
      <vt:lpstr>Web Camps</vt:lpstr>
      <vt:lpstr>Microsoft Azure</vt:lpstr>
      <vt:lpstr>ASP.NET sit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9</cp:revision>
  <dcterms:created xsi:type="dcterms:W3CDTF">2013-08-05T17:04:56Z</dcterms:created>
  <dcterms:modified xsi:type="dcterms:W3CDTF">2016-02-04T16:53:15Z</dcterms:modified>
</cp:coreProperties>
</file>